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98026AE-F4B9-4A8E-9919-2EC7DBBE3C3D}"/>
    <pc:docChg chg="custSel modSld">
      <pc:chgData name="Meyer Raphael (PAR-ES)" userId="79615dfe-ed48-4e74-a40f-4f7b034c1c27" providerId="ADAL" clId="{698026AE-F4B9-4A8E-9919-2EC7DBBE3C3D}" dt="2023-02-24T10:57:54.167" v="5" actId="478"/>
      <pc:docMkLst>
        <pc:docMk/>
      </pc:docMkLst>
      <pc:sldChg chg="delSp mod">
        <pc:chgData name="Meyer Raphael (PAR-ES)" userId="79615dfe-ed48-4e74-a40f-4f7b034c1c27" providerId="ADAL" clId="{698026AE-F4B9-4A8E-9919-2EC7DBBE3C3D}" dt="2023-02-24T10:57:54.167" v="5" actId="478"/>
        <pc:sldMkLst>
          <pc:docMk/>
          <pc:sldMk cId="2001825019" sldId="407"/>
        </pc:sldMkLst>
        <pc:spChg chg="del">
          <ac:chgData name="Meyer Raphael (PAR-ES)" userId="79615dfe-ed48-4e74-a40f-4f7b034c1c27" providerId="ADAL" clId="{698026AE-F4B9-4A8E-9919-2EC7DBBE3C3D}" dt="2023-02-24T10:57:54.167" v="5" actId="478"/>
          <ac:spMkLst>
            <pc:docMk/>
            <pc:sldMk cId="2001825019" sldId="407"/>
            <ac:spMk id="11" creationId="{045A27AD-E3C8-4822-85DF-F2C9129A4E35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019F8519-991A-42F8-8A00-1073315C524B}"/>
    <pc:docChg chg="custSel addSld delSld modSld sldOrd">
      <pc:chgData name="Meyer Raphael (PAR-ES)" userId="79615dfe-ed48-4e74-a40f-4f7b034c1c27" providerId="ADAL" clId="{019F8519-991A-42F8-8A00-1073315C524B}" dt="2022-03-03T14:42:21.972" v="53" actId="27918"/>
      <pc:docMkLst>
        <pc:docMk/>
      </pc:docMkLst>
      <pc:sldChg chg="modSp mod">
        <pc:chgData name="Meyer Raphael (PAR-ES)" userId="79615dfe-ed48-4e74-a40f-4f7b034c1c27" providerId="ADAL" clId="{019F8519-991A-42F8-8A00-1073315C524B}" dt="2022-03-03T14:34:57.432" v="7" actId="27918"/>
        <pc:sldMkLst>
          <pc:docMk/>
          <pc:sldMk cId="2001825019" sldId="407"/>
        </pc:sldMkLst>
        <pc:graphicFrameChg chg="mod">
          <ac:chgData name="Meyer Raphael (PAR-ES)" userId="79615dfe-ed48-4e74-a40f-4f7b034c1c27" providerId="ADAL" clId="{019F8519-991A-42F8-8A00-1073315C524B}" dt="2022-03-03T14:34:25.718" v="4"/>
          <ac:graphicFrameMkLst>
            <pc:docMk/>
            <pc:sldMk cId="2001825019" sldId="407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19F8519-991A-42F8-8A00-1073315C524B}" dt="2022-03-03T14:40:31.808" v="38" actId="27918"/>
        <pc:sldMkLst>
          <pc:docMk/>
          <pc:sldMk cId="2775483100" sldId="408"/>
        </pc:sldMkLst>
        <pc:spChg chg="mod">
          <ac:chgData name="Meyer Raphael (PAR-ES)" userId="79615dfe-ed48-4e74-a40f-4f7b034c1c27" providerId="ADAL" clId="{019F8519-991A-42F8-8A00-1073315C524B}" dt="2022-03-03T14:39:21.783" v="23"/>
          <ac:spMkLst>
            <pc:docMk/>
            <pc:sldMk cId="2775483100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9:35.158" v="25" actId="20577"/>
          <ac:spMkLst>
            <pc:docMk/>
            <pc:sldMk cId="2775483100" sldId="408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39:57.410" v="31" actId="20577"/>
          <ac:spMkLst>
            <pc:docMk/>
            <pc:sldMk cId="2775483100" sldId="408"/>
            <ac:spMk id="10" creationId="{A3DB4B5C-8AF8-4D76-8E11-2708D9423565}"/>
          </ac:spMkLst>
        </pc:spChg>
      </pc:sldChg>
      <pc:sldChg chg="del">
        <pc:chgData name="Meyer Raphael (PAR-ES)" userId="79615dfe-ed48-4e74-a40f-4f7b034c1c27" providerId="ADAL" clId="{019F8519-991A-42F8-8A00-1073315C524B}" dt="2022-03-03T14:32:30.075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019F8519-991A-42F8-8A00-1073315C524B}" dt="2022-03-03T14:42:21.972" v="53" actId="27918"/>
        <pc:sldMkLst>
          <pc:docMk/>
          <pc:sldMk cId="236440730" sldId="409"/>
        </pc:sldMkLst>
        <pc:spChg chg="mod">
          <ac:chgData name="Meyer Raphael (PAR-ES)" userId="79615dfe-ed48-4e74-a40f-4f7b034c1c27" providerId="ADAL" clId="{019F8519-991A-42F8-8A00-1073315C524B}" dt="2022-03-03T14:41:17.944" v="39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41:30.816" v="41" actId="20577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41:48.239" v="46" actId="20577"/>
          <ac:spMkLst>
            <pc:docMk/>
            <pc:sldMk cId="236440730" sldId="409"/>
            <ac:spMk id="10" creationId="{A3DB4B5C-8AF8-4D76-8E11-2708D9423565}"/>
          </ac:spMkLst>
        </pc:spChg>
      </pc:sldChg>
      <pc:sldChg chg="modSp add mod ord">
        <pc:chgData name="Meyer Raphael (PAR-ES)" userId="79615dfe-ed48-4e74-a40f-4f7b034c1c27" providerId="ADAL" clId="{019F8519-991A-42F8-8A00-1073315C524B}" dt="2022-03-03T14:38:53.634" v="22"/>
        <pc:sldMkLst>
          <pc:docMk/>
          <pc:sldMk cId="287567285" sldId="410"/>
        </pc:sldMkLst>
        <pc:spChg chg="mod">
          <ac:chgData name="Meyer Raphael (PAR-ES)" userId="79615dfe-ed48-4e74-a40f-4f7b034c1c27" providerId="ADAL" clId="{019F8519-991A-42F8-8A00-1073315C524B}" dt="2022-03-03T14:36:27.101" v="11"/>
          <ac:spMkLst>
            <pc:docMk/>
            <pc:sldMk cId="287567285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6:37.807" v="13" actId="20577"/>
          <ac:spMkLst>
            <pc:docMk/>
            <pc:sldMk cId="287567285" sldId="410"/>
            <ac:spMk id="8" creationId="{41FD5CBC-8C89-4499-B28B-5EC68806F1EB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171DC817-6ED8-44CA-9A34-1439365D37E6}"/>
    <pc:docChg chg="delSld">
      <pc:chgData name="Meyer Raphael (PAR-ES)" userId="79615dfe-ed48-4e74-a40f-4f7b034c1c27" providerId="ADAL" clId="{171DC817-6ED8-44CA-9A34-1439365D37E6}" dt="2022-03-03T14:53:39.956" v="0" actId="47"/>
      <pc:docMkLst>
        <pc:docMk/>
      </pc:docMkLst>
      <pc:sldChg chg="del">
        <pc:chgData name="Meyer Raphael (PAR-ES)" userId="79615dfe-ed48-4e74-a40f-4f7b034c1c27" providerId="ADAL" clId="{171DC817-6ED8-44CA-9A34-1439365D37E6}" dt="2022-03-03T14:53:39.956" v="0" actId="47"/>
        <pc:sldMkLst>
          <pc:docMk/>
          <pc:sldMk cId="2775483100" sldId="408"/>
        </pc:sldMkLst>
      </pc:sldChg>
      <pc:sldChg chg="del">
        <pc:chgData name="Meyer Raphael (PAR-ES)" userId="79615dfe-ed48-4e74-a40f-4f7b034c1c27" providerId="ADAL" clId="{171DC817-6ED8-44CA-9A34-1439365D37E6}" dt="2022-03-03T14:53:39.956" v="0" actId="47"/>
        <pc:sldMkLst>
          <pc:docMk/>
          <pc:sldMk cId="236440730" sldId="409"/>
        </pc:sldMkLst>
      </pc:sldChg>
      <pc:sldChg chg="del">
        <pc:chgData name="Meyer Raphael (PAR-ES)" userId="79615dfe-ed48-4e74-a40f-4f7b034c1c27" providerId="ADAL" clId="{171DC817-6ED8-44CA-9A34-1439365D37E6}" dt="2022-03-03T14:53:39.956" v="0" actId="47"/>
        <pc:sldMkLst>
          <pc:docMk/>
          <pc:sldMk cId="287567285" sldId="410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1F012EF3-746C-4478-B3DC-712CD8B29270}"/>
    <pc:docChg chg="modSld">
      <pc:chgData name="Weigel Stefan (PAR-EPS)" userId="fd3b2067-2981-4ad8-bf3a-d2e1004e4fa8" providerId="ADAL" clId="{1F012EF3-746C-4478-B3DC-712CD8B29270}" dt="2024-02-01T17:20:54.245" v="68" actId="27918"/>
      <pc:docMkLst>
        <pc:docMk/>
      </pc:docMkLst>
      <pc:sldChg chg="mod">
        <pc:chgData name="Weigel Stefan (PAR-EPS)" userId="fd3b2067-2981-4ad8-bf3a-d2e1004e4fa8" providerId="ADAL" clId="{1F012EF3-746C-4478-B3DC-712CD8B29270}" dt="2024-02-01T17:20:54.245" v="68" actId="27918"/>
        <pc:sldMkLst>
          <pc:docMk/>
          <pc:sldMk cId="2001825019" sldId="407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737330947745092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ersonenverkehr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165.198333333299</c:v>
                </c:pt>
                <c:pt idx="1">
                  <c:v>14263.012500000001</c:v>
                </c:pt>
                <c:pt idx="2">
                  <c:v>14269.518333333301</c:v>
                </c:pt>
                <c:pt idx="3">
                  <c:v>14278.76</c:v>
                </c:pt>
                <c:pt idx="4">
                  <c:v>14234.0841666667</c:v>
                </c:pt>
                <c:pt idx="5">
                  <c:v>13989.9183333333</c:v>
                </c:pt>
                <c:pt idx="6">
                  <c:v>14192.7133333333</c:v>
                </c:pt>
                <c:pt idx="7">
                  <c:v>14680.4273333333</c:v>
                </c:pt>
                <c:pt idx="8">
                  <c:v>15055.8178333333</c:v>
                </c:pt>
                <c:pt idx="9">
                  <c:v>15124.152</c:v>
                </c:pt>
                <c:pt idx="10">
                  <c:v>15304.790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n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01.95666666666705</c:v>
                </c:pt>
                <c:pt idx="1">
                  <c:v>816.52</c:v>
                </c:pt>
                <c:pt idx="2">
                  <c:v>816.73749999999995</c:v>
                </c:pt>
                <c:pt idx="3">
                  <c:v>791.30833333333305</c:v>
                </c:pt>
                <c:pt idx="4">
                  <c:v>779.07666666666705</c:v>
                </c:pt>
                <c:pt idx="5">
                  <c:v>775.75833333333298</c:v>
                </c:pt>
                <c:pt idx="6">
                  <c:v>790.16250000000002</c:v>
                </c:pt>
                <c:pt idx="7">
                  <c:v>793.05</c:v>
                </c:pt>
                <c:pt idx="8">
                  <c:v>780.30416666666702</c:v>
                </c:pt>
                <c:pt idx="9">
                  <c:v>1012.3375</c:v>
                </c:pt>
                <c:pt idx="10">
                  <c:v>1111.9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Güterverkehr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060.6058333333299</c:v>
                </c:pt>
                <c:pt idx="1">
                  <c:v>2995.4666666666699</c:v>
                </c:pt>
                <c:pt idx="2">
                  <c:v>3111.4358333333298</c:v>
                </c:pt>
                <c:pt idx="3">
                  <c:v>3075.0916666666699</c:v>
                </c:pt>
                <c:pt idx="4">
                  <c:v>3114.4974999999999</c:v>
                </c:pt>
                <c:pt idx="5">
                  <c:v>3084.3791666666698</c:v>
                </c:pt>
                <c:pt idx="6">
                  <c:v>3131.9108333333302</c:v>
                </c:pt>
                <c:pt idx="7">
                  <c:v>3225.45166666667</c:v>
                </c:pt>
                <c:pt idx="8">
                  <c:v>3222.3150000000001</c:v>
                </c:pt>
                <c:pt idx="9">
                  <c:v>3283.7908333333298</c:v>
                </c:pt>
                <c:pt idx="10">
                  <c:v>3382.0668333333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ktur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078.11</c:v>
                </c:pt>
                <c:pt idx="1">
                  <c:v>10375.9333333333</c:v>
                </c:pt>
                <c:pt idx="2">
                  <c:v>10313.2808333333</c:v>
                </c:pt>
                <c:pt idx="3">
                  <c:v>10322.555</c:v>
                </c:pt>
                <c:pt idx="4">
                  <c:v>10077.1675</c:v>
                </c:pt>
                <c:pt idx="5">
                  <c:v>9857.0010000000002</c:v>
                </c:pt>
                <c:pt idx="6">
                  <c:v>9776.7006666666693</c:v>
                </c:pt>
                <c:pt idx="7">
                  <c:v>9978.1352499999994</c:v>
                </c:pt>
                <c:pt idx="8">
                  <c:v>9999.1679999999997</c:v>
                </c:pt>
                <c:pt idx="9">
                  <c:v>9834.6158333333296</c:v>
                </c:pt>
                <c:pt idx="10">
                  <c:v>10060.218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Konzernbereich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3051.8458333333301</c:v>
                </c:pt>
                <c:pt idx="1">
                  <c:v>4405.7124999999996</c:v>
                </c:pt>
                <c:pt idx="2">
                  <c:v>4570.2008333333297</c:v>
                </c:pt>
                <c:pt idx="3">
                  <c:v>4650.9224999999997</c:v>
                </c:pt>
                <c:pt idx="4">
                  <c:v>4549.5791666666701</c:v>
                </c:pt>
                <c:pt idx="5">
                  <c:v>4601.68</c:v>
                </c:pt>
                <c:pt idx="6">
                  <c:v>4643.5958333333301</c:v>
                </c:pt>
                <c:pt idx="7">
                  <c:v>4821.2974999999997</c:v>
                </c:pt>
                <c:pt idx="8">
                  <c:v>4885.0749999999998</c:v>
                </c:pt>
                <c:pt idx="9">
                  <c:v>4972.0209999999997</c:v>
                </c:pt>
                <c:pt idx="10">
                  <c:v>5127.7668333333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Frauenanteil (%)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413112909556698</c:v>
                </c:pt>
                <c:pt idx="1">
                  <c:v>16.706779904993098</c:v>
                </c:pt>
                <c:pt idx="2">
                  <c:v>16.869850128369801</c:v>
                </c:pt>
                <c:pt idx="3">
                  <c:v>16.9864016168254</c:v>
                </c:pt>
                <c:pt idx="4">
                  <c:v>17.086566956641398</c:v>
                </c:pt>
                <c:pt idx="5">
                  <c:v>17.294466952361901</c:v>
                </c:pt>
                <c:pt idx="6">
                  <c:v>17.743488314596998</c:v>
                </c:pt>
                <c:pt idx="7">
                  <c:v>18.388368529331199</c:v>
                </c:pt>
                <c:pt idx="8">
                  <c:v>18.807508997179099</c:v>
                </c:pt>
                <c:pt idx="9">
                  <c:v>19.004231973653201</c:v>
                </c:pt>
                <c:pt idx="10">
                  <c:v>19.434275579273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8.747283139194377E-2"/>
          <c:y val="0.89094027760027861"/>
          <c:w val="0.91252709637295903"/>
          <c:h val="0.106874244744039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535</cdr:x>
      <cdr:y>0.0587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25934" cy="2342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FTE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95508</cdr:x>
      <cdr:y>0</cdr:y>
    </cdr:from>
    <cdr:to>
      <cdr:x>1</cdr:x>
      <cdr:y>0.0567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806029" y="0"/>
          <a:ext cx="414171" cy="22658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% M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7935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ersonalbestand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22216673"/>
              </p:ext>
            </p:extLst>
          </p:nvPr>
        </p:nvGraphicFramePr>
        <p:xfrm>
          <a:off x="1494169" y="1886296"/>
          <a:ext cx="9220200" cy="399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lzeitbeschäftigte des Konzerns SBB im Jahresmittel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001825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F3FC7BB-2CEC-4D5C-9D7C-DF3785B4EC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ersonalbestand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albestand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02T11:5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